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5"/>
  </p:sldMasterIdLst>
  <p:sldIdLst>
    <p:sldId id="257" r:id="rId6"/>
  </p:sldIdLst>
  <p:sldSz cx="10080625" cy="5040313"/>
  <p:notesSz cx="6858000" cy="9144000"/>
  <p:custDataLst>
    <p:tags r:id="rId7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BD0039"/>
    <a:srgbClr val="A0A044"/>
    <a:srgbClr val="6B641F"/>
    <a:srgbClr val="CEC35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6688" autoAdjust="0"/>
    <p:restoredTop sz="94660"/>
  </p:normalViewPr>
  <p:slideViewPr>
    <p:cSldViewPr snapToGrid="0">
      <p:cViewPr varScale="1">
        <p:scale>
          <a:sx n="144" d="100"/>
          <a:sy n="144" d="100"/>
        </p:scale>
        <p:origin x="666" y="12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36004" cy="36004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customXml" Target="../customXml/item3.xml"/><Relationship Id="rId7" Type="http://schemas.openxmlformats.org/officeDocument/2006/relationships/tags" Target="tags/tag1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tableStyles" Target="tableStyles.xml"/><Relationship Id="rId5" Type="http://schemas.openxmlformats.org/officeDocument/2006/relationships/slideMaster" Target="slideMasters/slideMaster1.xml"/><Relationship Id="rId10" Type="http://schemas.openxmlformats.org/officeDocument/2006/relationships/theme" Target="theme/theme1.xml"/><Relationship Id="rId4" Type="http://schemas.openxmlformats.org/officeDocument/2006/relationships/customXml" Target="../customXml/item4.xml"/><Relationship Id="rId9" Type="http://schemas.openxmlformats.org/officeDocument/2006/relationships/viewProps" Target="viewProps.xml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260078" y="824885"/>
            <a:ext cx="7560469" cy="1754776"/>
          </a:xfrm>
        </p:spPr>
        <p:txBody>
          <a:bodyPr anchor="b"/>
          <a:lstStyle>
            <a:lvl1pPr algn="ctr">
              <a:defRPr sz="4410"/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260078" y="2647331"/>
            <a:ext cx="7560469" cy="1216909"/>
          </a:xfrm>
        </p:spPr>
        <p:txBody>
          <a:bodyPr/>
          <a:lstStyle>
            <a:lvl1pPr marL="0" indent="0" algn="ctr">
              <a:buNone/>
              <a:defRPr sz="1764"/>
            </a:lvl1pPr>
            <a:lvl2pPr marL="336042" indent="0" algn="ctr">
              <a:buNone/>
              <a:defRPr sz="1470"/>
            </a:lvl2pPr>
            <a:lvl3pPr marL="672084" indent="0" algn="ctr">
              <a:buNone/>
              <a:defRPr sz="1323"/>
            </a:lvl3pPr>
            <a:lvl4pPr marL="1008126" indent="0" algn="ctr">
              <a:buNone/>
              <a:defRPr sz="1176"/>
            </a:lvl4pPr>
            <a:lvl5pPr marL="1344168" indent="0" algn="ctr">
              <a:buNone/>
              <a:defRPr sz="1176"/>
            </a:lvl5pPr>
            <a:lvl6pPr marL="1680210" indent="0" algn="ctr">
              <a:buNone/>
              <a:defRPr sz="1176"/>
            </a:lvl6pPr>
            <a:lvl7pPr marL="2016252" indent="0" algn="ctr">
              <a:buNone/>
              <a:defRPr sz="1176"/>
            </a:lvl7pPr>
            <a:lvl8pPr marL="2352294" indent="0" algn="ctr">
              <a:buNone/>
              <a:defRPr sz="1176"/>
            </a:lvl8pPr>
            <a:lvl9pPr marL="2688336" indent="0" algn="ctr">
              <a:buNone/>
              <a:defRPr sz="1176"/>
            </a:lvl9pPr>
          </a:lstStyle>
          <a:p>
            <a:r>
              <a:rPr lang="de-DE"/>
              <a:t>Master-Untertitelformat bearbeite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A25AF7A-D1F1-44F6-9E50-C79D58050BA4}" type="datetimeFigureOut">
              <a:rPr lang="en-US" smtClean="0"/>
              <a:t>12/17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E92838-740C-420B-9518-DF4A7DEF82EA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3287259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A25AF7A-D1F1-44F6-9E50-C79D58050BA4}" type="datetimeFigureOut">
              <a:rPr lang="en-US" smtClean="0"/>
              <a:t>12/17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E92838-740C-420B-9518-DF4A7DEF82EA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4900373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213947" y="268350"/>
            <a:ext cx="2173635" cy="4271432"/>
          </a:xfrm>
        </p:spPr>
        <p:txBody>
          <a:bodyPr vert="eaVert"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93043" y="268350"/>
            <a:ext cx="6394896" cy="4271432"/>
          </a:xfrm>
        </p:spPr>
        <p:txBody>
          <a:bodyPr vert="eaVer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A25AF7A-D1F1-44F6-9E50-C79D58050BA4}" type="datetimeFigureOut">
              <a:rPr lang="en-US" smtClean="0"/>
              <a:t>12/17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E92838-740C-420B-9518-DF4A7DEF82EA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6728888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A25AF7A-D1F1-44F6-9E50-C79D58050BA4}" type="datetimeFigureOut">
              <a:rPr lang="en-US" smtClean="0"/>
              <a:t>12/17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E92838-740C-420B-9518-DF4A7DEF82EA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9169114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7793" y="1256579"/>
            <a:ext cx="8694539" cy="2096630"/>
          </a:xfrm>
        </p:spPr>
        <p:txBody>
          <a:bodyPr anchor="b"/>
          <a:lstStyle>
            <a:lvl1pPr>
              <a:defRPr sz="4410"/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7793" y="3373044"/>
            <a:ext cx="8694539" cy="1102568"/>
          </a:xfrm>
        </p:spPr>
        <p:txBody>
          <a:bodyPr/>
          <a:lstStyle>
            <a:lvl1pPr marL="0" indent="0">
              <a:buNone/>
              <a:defRPr sz="1764">
                <a:solidFill>
                  <a:schemeClr val="tx1">
                    <a:tint val="75000"/>
                  </a:schemeClr>
                </a:solidFill>
              </a:defRPr>
            </a:lvl1pPr>
            <a:lvl2pPr marL="336042" indent="0">
              <a:buNone/>
              <a:defRPr sz="1470">
                <a:solidFill>
                  <a:schemeClr val="tx1">
                    <a:tint val="75000"/>
                  </a:schemeClr>
                </a:solidFill>
              </a:defRPr>
            </a:lvl2pPr>
            <a:lvl3pPr marL="672084" indent="0">
              <a:buNone/>
              <a:defRPr sz="1323">
                <a:solidFill>
                  <a:schemeClr val="tx1">
                    <a:tint val="75000"/>
                  </a:schemeClr>
                </a:solidFill>
              </a:defRPr>
            </a:lvl3pPr>
            <a:lvl4pPr marL="1008126" indent="0">
              <a:buNone/>
              <a:defRPr sz="1176">
                <a:solidFill>
                  <a:schemeClr val="tx1">
                    <a:tint val="75000"/>
                  </a:schemeClr>
                </a:solidFill>
              </a:defRPr>
            </a:lvl4pPr>
            <a:lvl5pPr marL="1344168" indent="0">
              <a:buNone/>
              <a:defRPr sz="1176">
                <a:solidFill>
                  <a:schemeClr val="tx1">
                    <a:tint val="75000"/>
                  </a:schemeClr>
                </a:solidFill>
              </a:defRPr>
            </a:lvl5pPr>
            <a:lvl6pPr marL="1680210" indent="0">
              <a:buNone/>
              <a:defRPr sz="1176">
                <a:solidFill>
                  <a:schemeClr val="tx1">
                    <a:tint val="75000"/>
                  </a:schemeClr>
                </a:solidFill>
              </a:defRPr>
            </a:lvl6pPr>
            <a:lvl7pPr marL="2016252" indent="0">
              <a:buNone/>
              <a:defRPr sz="1176">
                <a:solidFill>
                  <a:schemeClr val="tx1">
                    <a:tint val="75000"/>
                  </a:schemeClr>
                </a:solidFill>
              </a:defRPr>
            </a:lvl7pPr>
            <a:lvl8pPr marL="2352294" indent="0">
              <a:buNone/>
              <a:defRPr sz="1176">
                <a:solidFill>
                  <a:schemeClr val="tx1">
                    <a:tint val="75000"/>
                  </a:schemeClr>
                </a:solidFill>
              </a:defRPr>
            </a:lvl8pPr>
            <a:lvl9pPr marL="2688336" indent="0">
              <a:buNone/>
              <a:defRPr sz="1176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A25AF7A-D1F1-44F6-9E50-C79D58050BA4}" type="datetimeFigureOut">
              <a:rPr lang="en-US" smtClean="0"/>
              <a:t>12/17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E92838-740C-420B-9518-DF4A7DEF82EA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6190799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93043" y="1341750"/>
            <a:ext cx="4284266" cy="3198032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103316" y="1341750"/>
            <a:ext cx="4284266" cy="3198032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A25AF7A-D1F1-44F6-9E50-C79D58050BA4}" type="datetimeFigureOut">
              <a:rPr lang="en-US" smtClean="0"/>
              <a:t>12/17/2024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E92838-740C-420B-9518-DF4A7DEF82EA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2680662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94356" y="268350"/>
            <a:ext cx="8694539" cy="974228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94357" y="1235577"/>
            <a:ext cx="4264576" cy="605537"/>
          </a:xfrm>
        </p:spPr>
        <p:txBody>
          <a:bodyPr anchor="b"/>
          <a:lstStyle>
            <a:lvl1pPr marL="0" indent="0">
              <a:buNone/>
              <a:defRPr sz="1764" b="1"/>
            </a:lvl1pPr>
            <a:lvl2pPr marL="336042" indent="0">
              <a:buNone/>
              <a:defRPr sz="1470" b="1"/>
            </a:lvl2pPr>
            <a:lvl3pPr marL="672084" indent="0">
              <a:buNone/>
              <a:defRPr sz="1323" b="1"/>
            </a:lvl3pPr>
            <a:lvl4pPr marL="1008126" indent="0">
              <a:buNone/>
              <a:defRPr sz="1176" b="1"/>
            </a:lvl4pPr>
            <a:lvl5pPr marL="1344168" indent="0">
              <a:buNone/>
              <a:defRPr sz="1176" b="1"/>
            </a:lvl5pPr>
            <a:lvl6pPr marL="1680210" indent="0">
              <a:buNone/>
              <a:defRPr sz="1176" b="1"/>
            </a:lvl6pPr>
            <a:lvl7pPr marL="2016252" indent="0">
              <a:buNone/>
              <a:defRPr sz="1176" b="1"/>
            </a:lvl7pPr>
            <a:lvl8pPr marL="2352294" indent="0">
              <a:buNone/>
              <a:defRPr sz="1176" b="1"/>
            </a:lvl8pPr>
            <a:lvl9pPr marL="2688336" indent="0">
              <a:buNone/>
              <a:defRPr sz="1176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94357" y="1841114"/>
            <a:ext cx="4264576" cy="2708002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103316" y="1235577"/>
            <a:ext cx="4285579" cy="605537"/>
          </a:xfrm>
        </p:spPr>
        <p:txBody>
          <a:bodyPr anchor="b"/>
          <a:lstStyle>
            <a:lvl1pPr marL="0" indent="0">
              <a:buNone/>
              <a:defRPr sz="1764" b="1"/>
            </a:lvl1pPr>
            <a:lvl2pPr marL="336042" indent="0">
              <a:buNone/>
              <a:defRPr sz="1470" b="1"/>
            </a:lvl2pPr>
            <a:lvl3pPr marL="672084" indent="0">
              <a:buNone/>
              <a:defRPr sz="1323" b="1"/>
            </a:lvl3pPr>
            <a:lvl4pPr marL="1008126" indent="0">
              <a:buNone/>
              <a:defRPr sz="1176" b="1"/>
            </a:lvl4pPr>
            <a:lvl5pPr marL="1344168" indent="0">
              <a:buNone/>
              <a:defRPr sz="1176" b="1"/>
            </a:lvl5pPr>
            <a:lvl6pPr marL="1680210" indent="0">
              <a:buNone/>
              <a:defRPr sz="1176" b="1"/>
            </a:lvl6pPr>
            <a:lvl7pPr marL="2016252" indent="0">
              <a:buNone/>
              <a:defRPr sz="1176" b="1"/>
            </a:lvl7pPr>
            <a:lvl8pPr marL="2352294" indent="0">
              <a:buNone/>
              <a:defRPr sz="1176" b="1"/>
            </a:lvl8pPr>
            <a:lvl9pPr marL="2688336" indent="0">
              <a:buNone/>
              <a:defRPr sz="1176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103316" y="1841114"/>
            <a:ext cx="4285579" cy="2708002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A25AF7A-D1F1-44F6-9E50-C79D58050BA4}" type="datetimeFigureOut">
              <a:rPr lang="en-US" smtClean="0"/>
              <a:t>12/17/2024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E92838-740C-420B-9518-DF4A7DEF82EA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4903588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A25AF7A-D1F1-44F6-9E50-C79D58050BA4}" type="datetimeFigureOut">
              <a:rPr lang="en-US" smtClean="0"/>
              <a:t>12/17/2024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E92838-740C-420B-9518-DF4A7DEF82EA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6315556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A25AF7A-D1F1-44F6-9E50-C79D58050BA4}" type="datetimeFigureOut">
              <a:rPr lang="en-US" smtClean="0"/>
              <a:t>12/17/2024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E92838-740C-420B-9518-DF4A7DEF82EA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8652451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94356" y="336021"/>
            <a:ext cx="3251264" cy="1176073"/>
          </a:xfrm>
        </p:spPr>
        <p:txBody>
          <a:bodyPr anchor="b"/>
          <a:lstStyle>
            <a:lvl1pPr>
              <a:defRPr sz="2352"/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285579" y="725712"/>
            <a:ext cx="5103316" cy="3581889"/>
          </a:xfrm>
        </p:spPr>
        <p:txBody>
          <a:bodyPr/>
          <a:lstStyle>
            <a:lvl1pPr>
              <a:defRPr sz="2352"/>
            </a:lvl1pPr>
            <a:lvl2pPr>
              <a:defRPr sz="2058"/>
            </a:lvl2pPr>
            <a:lvl3pPr>
              <a:defRPr sz="1764"/>
            </a:lvl3pPr>
            <a:lvl4pPr>
              <a:defRPr sz="1470"/>
            </a:lvl4pPr>
            <a:lvl5pPr>
              <a:defRPr sz="1470"/>
            </a:lvl5pPr>
            <a:lvl6pPr>
              <a:defRPr sz="1470"/>
            </a:lvl6pPr>
            <a:lvl7pPr>
              <a:defRPr sz="1470"/>
            </a:lvl7pPr>
            <a:lvl8pPr>
              <a:defRPr sz="1470"/>
            </a:lvl8pPr>
            <a:lvl9pPr>
              <a:defRPr sz="147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94356" y="1512094"/>
            <a:ext cx="3251264" cy="2801341"/>
          </a:xfrm>
        </p:spPr>
        <p:txBody>
          <a:bodyPr/>
          <a:lstStyle>
            <a:lvl1pPr marL="0" indent="0">
              <a:buNone/>
              <a:defRPr sz="1176"/>
            </a:lvl1pPr>
            <a:lvl2pPr marL="336042" indent="0">
              <a:buNone/>
              <a:defRPr sz="1029"/>
            </a:lvl2pPr>
            <a:lvl3pPr marL="672084" indent="0">
              <a:buNone/>
              <a:defRPr sz="882"/>
            </a:lvl3pPr>
            <a:lvl4pPr marL="1008126" indent="0">
              <a:buNone/>
              <a:defRPr sz="735"/>
            </a:lvl4pPr>
            <a:lvl5pPr marL="1344168" indent="0">
              <a:buNone/>
              <a:defRPr sz="735"/>
            </a:lvl5pPr>
            <a:lvl6pPr marL="1680210" indent="0">
              <a:buNone/>
              <a:defRPr sz="735"/>
            </a:lvl6pPr>
            <a:lvl7pPr marL="2016252" indent="0">
              <a:buNone/>
              <a:defRPr sz="735"/>
            </a:lvl7pPr>
            <a:lvl8pPr marL="2352294" indent="0">
              <a:buNone/>
              <a:defRPr sz="735"/>
            </a:lvl8pPr>
            <a:lvl9pPr marL="2688336" indent="0">
              <a:buNone/>
              <a:defRPr sz="735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A25AF7A-D1F1-44F6-9E50-C79D58050BA4}" type="datetimeFigureOut">
              <a:rPr lang="en-US" smtClean="0"/>
              <a:t>12/17/2024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E92838-740C-420B-9518-DF4A7DEF82EA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0160201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94356" y="336021"/>
            <a:ext cx="3251264" cy="1176073"/>
          </a:xfrm>
        </p:spPr>
        <p:txBody>
          <a:bodyPr anchor="b"/>
          <a:lstStyle>
            <a:lvl1pPr>
              <a:defRPr sz="2352"/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4285579" y="725712"/>
            <a:ext cx="5103316" cy="3581889"/>
          </a:xfrm>
        </p:spPr>
        <p:txBody>
          <a:bodyPr anchor="t"/>
          <a:lstStyle>
            <a:lvl1pPr marL="0" indent="0">
              <a:buNone/>
              <a:defRPr sz="2352"/>
            </a:lvl1pPr>
            <a:lvl2pPr marL="336042" indent="0">
              <a:buNone/>
              <a:defRPr sz="2058"/>
            </a:lvl2pPr>
            <a:lvl3pPr marL="672084" indent="0">
              <a:buNone/>
              <a:defRPr sz="1764"/>
            </a:lvl3pPr>
            <a:lvl4pPr marL="1008126" indent="0">
              <a:buNone/>
              <a:defRPr sz="1470"/>
            </a:lvl4pPr>
            <a:lvl5pPr marL="1344168" indent="0">
              <a:buNone/>
              <a:defRPr sz="1470"/>
            </a:lvl5pPr>
            <a:lvl6pPr marL="1680210" indent="0">
              <a:buNone/>
              <a:defRPr sz="1470"/>
            </a:lvl6pPr>
            <a:lvl7pPr marL="2016252" indent="0">
              <a:buNone/>
              <a:defRPr sz="1470"/>
            </a:lvl7pPr>
            <a:lvl8pPr marL="2352294" indent="0">
              <a:buNone/>
              <a:defRPr sz="1470"/>
            </a:lvl8pPr>
            <a:lvl9pPr marL="2688336" indent="0">
              <a:buNone/>
              <a:defRPr sz="1470"/>
            </a:lvl9pPr>
          </a:lstStyle>
          <a:p>
            <a:r>
              <a:rPr lang="de-DE" dirty="0"/>
              <a:t>Bild durch Klicken auf Symbol hinzufügen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94356" y="1512094"/>
            <a:ext cx="3251264" cy="2801341"/>
          </a:xfrm>
        </p:spPr>
        <p:txBody>
          <a:bodyPr/>
          <a:lstStyle>
            <a:lvl1pPr marL="0" indent="0">
              <a:buNone/>
              <a:defRPr sz="1176"/>
            </a:lvl1pPr>
            <a:lvl2pPr marL="336042" indent="0">
              <a:buNone/>
              <a:defRPr sz="1029"/>
            </a:lvl2pPr>
            <a:lvl3pPr marL="672084" indent="0">
              <a:buNone/>
              <a:defRPr sz="882"/>
            </a:lvl3pPr>
            <a:lvl4pPr marL="1008126" indent="0">
              <a:buNone/>
              <a:defRPr sz="735"/>
            </a:lvl4pPr>
            <a:lvl5pPr marL="1344168" indent="0">
              <a:buNone/>
              <a:defRPr sz="735"/>
            </a:lvl5pPr>
            <a:lvl6pPr marL="1680210" indent="0">
              <a:buNone/>
              <a:defRPr sz="735"/>
            </a:lvl6pPr>
            <a:lvl7pPr marL="2016252" indent="0">
              <a:buNone/>
              <a:defRPr sz="735"/>
            </a:lvl7pPr>
            <a:lvl8pPr marL="2352294" indent="0">
              <a:buNone/>
              <a:defRPr sz="735"/>
            </a:lvl8pPr>
            <a:lvl9pPr marL="2688336" indent="0">
              <a:buNone/>
              <a:defRPr sz="735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A25AF7A-D1F1-44F6-9E50-C79D58050BA4}" type="datetimeFigureOut">
              <a:rPr lang="en-US" smtClean="0"/>
              <a:t>12/17/2024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E92838-740C-420B-9518-DF4A7DEF82EA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5917778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93043" y="268350"/>
            <a:ext cx="8694539" cy="97422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93043" y="1341750"/>
            <a:ext cx="8694539" cy="319803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93043" y="4671624"/>
            <a:ext cx="2268141" cy="26835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82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A25AF7A-D1F1-44F6-9E50-C79D58050BA4}" type="datetimeFigureOut">
              <a:rPr lang="en-US" smtClean="0"/>
              <a:t>12/17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339207" y="4671624"/>
            <a:ext cx="3402211" cy="26835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882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119441" y="4671624"/>
            <a:ext cx="2268141" cy="26835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82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4E92838-740C-420B-9518-DF4A7DEF82EA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450914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txStyles>
    <p:titleStyle>
      <a:lvl1pPr algn="l" defTabSz="672084" rtl="0" eaLnBrk="1" latinLnBrk="0" hangingPunct="1">
        <a:lnSpc>
          <a:spcPct val="90000"/>
        </a:lnSpc>
        <a:spcBef>
          <a:spcPct val="0"/>
        </a:spcBef>
        <a:buNone/>
        <a:defRPr sz="3234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68021" indent="-168021" algn="l" defTabSz="672084" rtl="0" eaLnBrk="1" latinLnBrk="0" hangingPunct="1">
        <a:lnSpc>
          <a:spcPct val="90000"/>
        </a:lnSpc>
        <a:spcBef>
          <a:spcPts val="735"/>
        </a:spcBef>
        <a:buFont typeface="Arial" panose="020B0604020202020204" pitchFamily="34" charset="0"/>
        <a:buChar char="•"/>
        <a:defRPr sz="2058" kern="1200">
          <a:solidFill>
            <a:schemeClr val="tx1"/>
          </a:solidFill>
          <a:latin typeface="+mn-lt"/>
          <a:ea typeface="+mn-ea"/>
          <a:cs typeface="+mn-cs"/>
        </a:defRPr>
      </a:lvl1pPr>
      <a:lvl2pPr marL="504063" indent="-168021" algn="l" defTabSz="672084" rtl="0" eaLnBrk="1" latinLnBrk="0" hangingPunct="1">
        <a:lnSpc>
          <a:spcPct val="90000"/>
        </a:lnSpc>
        <a:spcBef>
          <a:spcPts val="368"/>
        </a:spcBef>
        <a:buFont typeface="Arial" panose="020B0604020202020204" pitchFamily="34" charset="0"/>
        <a:buChar char="•"/>
        <a:defRPr sz="1764" kern="1200">
          <a:solidFill>
            <a:schemeClr val="tx1"/>
          </a:solidFill>
          <a:latin typeface="+mn-lt"/>
          <a:ea typeface="+mn-ea"/>
          <a:cs typeface="+mn-cs"/>
        </a:defRPr>
      </a:lvl2pPr>
      <a:lvl3pPr marL="840105" indent="-168021" algn="l" defTabSz="672084" rtl="0" eaLnBrk="1" latinLnBrk="0" hangingPunct="1">
        <a:lnSpc>
          <a:spcPct val="90000"/>
        </a:lnSpc>
        <a:spcBef>
          <a:spcPts val="368"/>
        </a:spcBef>
        <a:buFont typeface="Arial" panose="020B0604020202020204" pitchFamily="34" charset="0"/>
        <a:buChar char="•"/>
        <a:defRPr sz="1470" kern="1200">
          <a:solidFill>
            <a:schemeClr val="tx1"/>
          </a:solidFill>
          <a:latin typeface="+mn-lt"/>
          <a:ea typeface="+mn-ea"/>
          <a:cs typeface="+mn-cs"/>
        </a:defRPr>
      </a:lvl3pPr>
      <a:lvl4pPr marL="1176147" indent="-168021" algn="l" defTabSz="672084" rtl="0" eaLnBrk="1" latinLnBrk="0" hangingPunct="1">
        <a:lnSpc>
          <a:spcPct val="90000"/>
        </a:lnSpc>
        <a:spcBef>
          <a:spcPts val="368"/>
        </a:spcBef>
        <a:buFont typeface="Arial" panose="020B0604020202020204" pitchFamily="34" charset="0"/>
        <a:buChar char="•"/>
        <a:defRPr sz="1323" kern="1200">
          <a:solidFill>
            <a:schemeClr val="tx1"/>
          </a:solidFill>
          <a:latin typeface="+mn-lt"/>
          <a:ea typeface="+mn-ea"/>
          <a:cs typeface="+mn-cs"/>
        </a:defRPr>
      </a:lvl4pPr>
      <a:lvl5pPr marL="1512189" indent="-168021" algn="l" defTabSz="672084" rtl="0" eaLnBrk="1" latinLnBrk="0" hangingPunct="1">
        <a:lnSpc>
          <a:spcPct val="90000"/>
        </a:lnSpc>
        <a:spcBef>
          <a:spcPts val="368"/>
        </a:spcBef>
        <a:buFont typeface="Arial" panose="020B0604020202020204" pitchFamily="34" charset="0"/>
        <a:buChar char="•"/>
        <a:defRPr sz="1323" kern="1200">
          <a:solidFill>
            <a:schemeClr val="tx1"/>
          </a:solidFill>
          <a:latin typeface="+mn-lt"/>
          <a:ea typeface="+mn-ea"/>
          <a:cs typeface="+mn-cs"/>
        </a:defRPr>
      </a:lvl5pPr>
      <a:lvl6pPr marL="1848231" indent="-168021" algn="l" defTabSz="672084" rtl="0" eaLnBrk="1" latinLnBrk="0" hangingPunct="1">
        <a:lnSpc>
          <a:spcPct val="90000"/>
        </a:lnSpc>
        <a:spcBef>
          <a:spcPts val="368"/>
        </a:spcBef>
        <a:buFont typeface="Arial" panose="020B0604020202020204" pitchFamily="34" charset="0"/>
        <a:buChar char="•"/>
        <a:defRPr sz="1323" kern="1200">
          <a:solidFill>
            <a:schemeClr val="tx1"/>
          </a:solidFill>
          <a:latin typeface="+mn-lt"/>
          <a:ea typeface="+mn-ea"/>
          <a:cs typeface="+mn-cs"/>
        </a:defRPr>
      </a:lvl6pPr>
      <a:lvl7pPr marL="2184273" indent="-168021" algn="l" defTabSz="672084" rtl="0" eaLnBrk="1" latinLnBrk="0" hangingPunct="1">
        <a:lnSpc>
          <a:spcPct val="90000"/>
        </a:lnSpc>
        <a:spcBef>
          <a:spcPts val="368"/>
        </a:spcBef>
        <a:buFont typeface="Arial" panose="020B0604020202020204" pitchFamily="34" charset="0"/>
        <a:buChar char="•"/>
        <a:defRPr sz="1323" kern="1200">
          <a:solidFill>
            <a:schemeClr val="tx1"/>
          </a:solidFill>
          <a:latin typeface="+mn-lt"/>
          <a:ea typeface="+mn-ea"/>
          <a:cs typeface="+mn-cs"/>
        </a:defRPr>
      </a:lvl7pPr>
      <a:lvl8pPr marL="2520315" indent="-168021" algn="l" defTabSz="672084" rtl="0" eaLnBrk="1" latinLnBrk="0" hangingPunct="1">
        <a:lnSpc>
          <a:spcPct val="90000"/>
        </a:lnSpc>
        <a:spcBef>
          <a:spcPts val="368"/>
        </a:spcBef>
        <a:buFont typeface="Arial" panose="020B0604020202020204" pitchFamily="34" charset="0"/>
        <a:buChar char="•"/>
        <a:defRPr sz="1323" kern="1200">
          <a:solidFill>
            <a:schemeClr val="tx1"/>
          </a:solidFill>
          <a:latin typeface="+mn-lt"/>
          <a:ea typeface="+mn-ea"/>
          <a:cs typeface="+mn-cs"/>
        </a:defRPr>
      </a:lvl8pPr>
      <a:lvl9pPr marL="2856357" indent="-168021" algn="l" defTabSz="672084" rtl="0" eaLnBrk="1" latinLnBrk="0" hangingPunct="1">
        <a:lnSpc>
          <a:spcPct val="90000"/>
        </a:lnSpc>
        <a:spcBef>
          <a:spcPts val="368"/>
        </a:spcBef>
        <a:buFont typeface="Arial" panose="020B0604020202020204" pitchFamily="34" charset="0"/>
        <a:buChar char="•"/>
        <a:defRPr sz="132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72084" rtl="0" eaLnBrk="1" latinLnBrk="0" hangingPunct="1">
        <a:defRPr sz="1323" kern="1200">
          <a:solidFill>
            <a:schemeClr val="tx1"/>
          </a:solidFill>
          <a:latin typeface="+mn-lt"/>
          <a:ea typeface="+mn-ea"/>
          <a:cs typeface="+mn-cs"/>
        </a:defRPr>
      </a:lvl1pPr>
      <a:lvl2pPr marL="336042" algn="l" defTabSz="672084" rtl="0" eaLnBrk="1" latinLnBrk="0" hangingPunct="1">
        <a:defRPr sz="1323" kern="1200">
          <a:solidFill>
            <a:schemeClr val="tx1"/>
          </a:solidFill>
          <a:latin typeface="+mn-lt"/>
          <a:ea typeface="+mn-ea"/>
          <a:cs typeface="+mn-cs"/>
        </a:defRPr>
      </a:lvl2pPr>
      <a:lvl3pPr marL="672084" algn="l" defTabSz="672084" rtl="0" eaLnBrk="1" latinLnBrk="0" hangingPunct="1">
        <a:defRPr sz="1323" kern="1200">
          <a:solidFill>
            <a:schemeClr val="tx1"/>
          </a:solidFill>
          <a:latin typeface="+mn-lt"/>
          <a:ea typeface="+mn-ea"/>
          <a:cs typeface="+mn-cs"/>
        </a:defRPr>
      </a:lvl3pPr>
      <a:lvl4pPr marL="1008126" algn="l" defTabSz="672084" rtl="0" eaLnBrk="1" latinLnBrk="0" hangingPunct="1">
        <a:defRPr sz="1323" kern="1200">
          <a:solidFill>
            <a:schemeClr val="tx1"/>
          </a:solidFill>
          <a:latin typeface="+mn-lt"/>
          <a:ea typeface="+mn-ea"/>
          <a:cs typeface="+mn-cs"/>
        </a:defRPr>
      </a:lvl4pPr>
      <a:lvl5pPr marL="1344168" algn="l" defTabSz="672084" rtl="0" eaLnBrk="1" latinLnBrk="0" hangingPunct="1">
        <a:defRPr sz="1323" kern="1200">
          <a:solidFill>
            <a:schemeClr val="tx1"/>
          </a:solidFill>
          <a:latin typeface="+mn-lt"/>
          <a:ea typeface="+mn-ea"/>
          <a:cs typeface="+mn-cs"/>
        </a:defRPr>
      </a:lvl5pPr>
      <a:lvl6pPr marL="1680210" algn="l" defTabSz="672084" rtl="0" eaLnBrk="1" latinLnBrk="0" hangingPunct="1">
        <a:defRPr sz="1323" kern="1200">
          <a:solidFill>
            <a:schemeClr val="tx1"/>
          </a:solidFill>
          <a:latin typeface="+mn-lt"/>
          <a:ea typeface="+mn-ea"/>
          <a:cs typeface="+mn-cs"/>
        </a:defRPr>
      </a:lvl6pPr>
      <a:lvl7pPr marL="2016252" algn="l" defTabSz="672084" rtl="0" eaLnBrk="1" latinLnBrk="0" hangingPunct="1">
        <a:defRPr sz="1323" kern="1200">
          <a:solidFill>
            <a:schemeClr val="tx1"/>
          </a:solidFill>
          <a:latin typeface="+mn-lt"/>
          <a:ea typeface="+mn-ea"/>
          <a:cs typeface="+mn-cs"/>
        </a:defRPr>
      </a:lvl7pPr>
      <a:lvl8pPr marL="2352294" algn="l" defTabSz="672084" rtl="0" eaLnBrk="1" latinLnBrk="0" hangingPunct="1">
        <a:defRPr sz="1323" kern="1200">
          <a:solidFill>
            <a:schemeClr val="tx1"/>
          </a:solidFill>
          <a:latin typeface="+mn-lt"/>
          <a:ea typeface="+mn-ea"/>
          <a:cs typeface="+mn-cs"/>
        </a:defRPr>
      </a:lvl8pPr>
      <a:lvl9pPr marL="2688336" algn="l" defTabSz="672084" rtl="0" eaLnBrk="1" latinLnBrk="0" hangingPunct="1">
        <a:defRPr sz="132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.xml"/><Relationship Id="rId4" Type="http://schemas.openxmlformats.org/officeDocument/2006/relationships/image" Target="../media/image2.sv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>
            <a:extLst>
              <a:ext uri="{FF2B5EF4-FFF2-40B4-BE49-F238E27FC236}">
                <a16:creationId xmlns:a16="http://schemas.microsoft.com/office/drawing/2014/main" id="{BCAE344D-4F0E-B748-6127-5C543E13F4BC}"/>
              </a:ext>
            </a:extLst>
          </p:cNvPr>
          <p:cNvGrpSpPr/>
          <p:nvPr/>
        </p:nvGrpSpPr>
        <p:grpSpPr>
          <a:xfrm>
            <a:off x="625" y="0"/>
            <a:ext cx="10080000" cy="5040000"/>
            <a:chOff x="625" y="0"/>
            <a:chExt cx="10080000" cy="5040000"/>
          </a:xfrm>
        </p:grpSpPr>
        <p:sp>
          <p:nvSpPr>
            <p:cNvPr id="90" name="Rechteck 89">
              <a:extLst>
                <a:ext uri="{FF2B5EF4-FFF2-40B4-BE49-F238E27FC236}">
                  <a16:creationId xmlns:a16="http://schemas.microsoft.com/office/drawing/2014/main" id="{A44146A4-80AA-4FB5-8B0A-6BB19B353D43}"/>
                </a:ext>
              </a:extLst>
            </p:cNvPr>
            <p:cNvSpPr/>
            <p:nvPr/>
          </p:nvSpPr>
          <p:spPr bwMode="gray">
            <a:xfrm rot="16200000">
              <a:off x="-371049" y="3582269"/>
              <a:ext cx="1791642" cy="548087"/>
            </a:xfrm>
            <a:prstGeom prst="rect">
              <a:avLst/>
            </a:prstGeom>
            <a:gradFill flip="none" rotWithShape="1">
              <a:gsLst>
                <a:gs pos="0">
                  <a:srgbClr val="00BCFF">
                    <a:shade val="30000"/>
                    <a:satMod val="115000"/>
                  </a:srgbClr>
                </a:gs>
                <a:gs pos="50000">
                  <a:srgbClr val="00BCFF">
                    <a:shade val="67500"/>
                    <a:satMod val="115000"/>
                  </a:srgbClr>
                </a:gs>
                <a:gs pos="100000">
                  <a:srgbClr val="00BCFF">
                    <a:shade val="100000"/>
                    <a:satMod val="115000"/>
                  </a:srgbClr>
                </a:gs>
              </a:gsLst>
              <a:lin ang="2700000" scaled="1"/>
              <a:tileRect/>
            </a:gra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6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cs typeface="Arial"/>
                </a:rPr>
                <a:t>Victim</a:t>
              </a:r>
            </a:p>
          </p:txBody>
        </p:sp>
        <p:grpSp>
          <p:nvGrpSpPr>
            <p:cNvPr id="176" name="Gruppieren 175">
              <a:extLst>
                <a:ext uri="{FF2B5EF4-FFF2-40B4-BE49-F238E27FC236}">
                  <a16:creationId xmlns:a16="http://schemas.microsoft.com/office/drawing/2014/main" id="{4BBF0E06-1277-4994-AFE9-B37C048D848A}"/>
                </a:ext>
              </a:extLst>
            </p:cNvPr>
            <p:cNvGrpSpPr/>
            <p:nvPr/>
          </p:nvGrpSpPr>
          <p:grpSpPr>
            <a:xfrm>
              <a:off x="4071012" y="544462"/>
              <a:ext cx="2078335" cy="3462771"/>
              <a:chOff x="4071012" y="380347"/>
              <a:chExt cx="2078335" cy="3462771"/>
            </a:xfrm>
          </p:grpSpPr>
          <p:sp>
            <p:nvSpPr>
              <p:cNvPr id="74" name="Textfeld 73">
                <a:extLst>
                  <a:ext uri="{FF2B5EF4-FFF2-40B4-BE49-F238E27FC236}">
                    <a16:creationId xmlns:a16="http://schemas.microsoft.com/office/drawing/2014/main" id="{30AE1D67-1A73-4290-BF1C-838E2810220E}"/>
                  </a:ext>
                </a:extLst>
              </p:cNvPr>
              <p:cNvSpPr txBox="1"/>
              <p:nvPr/>
            </p:nvSpPr>
            <p:spPr>
              <a:xfrm>
                <a:off x="4515440" y="380347"/>
                <a:ext cx="1633907" cy="292388"/>
              </a:xfrm>
              <a:prstGeom prst="rect">
                <a:avLst/>
              </a:prstGeom>
              <a:noFill/>
            </p:spPr>
            <p:txBody>
              <a:bodyPr wrap="square" rIns="0" bIns="0" rtlCol="0" anchor="ctr">
                <a:spAutoFit/>
              </a:bodyPr>
              <a:lstStyle/>
              <a:p>
                <a:pPr marL="0" marR="0" lvl="0" indent="0" defTabSz="122145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6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10384F"/>
                    </a:solidFill>
                    <a:effectLst/>
                    <a:uLnTx/>
                    <a:uFillTx/>
                    <a:latin typeface="Arial"/>
                    <a:cs typeface="Calibri" panose="020F0502020204030204" pitchFamily="34" charset="0"/>
                  </a:rPr>
                  <a:t>Probenecid</a:t>
                </a:r>
                <a:endParaRPr kumimoji="0" lang="de-DE" sz="1600" b="1" i="0" u="none" strike="noStrike" kern="0" cap="none" spc="0" normalizeH="0" baseline="0" noProof="0" dirty="0">
                  <a:ln>
                    <a:noFill/>
                  </a:ln>
                  <a:solidFill>
                    <a:srgbClr val="10384F"/>
                  </a:solidFill>
                  <a:effectLst/>
                  <a:uLnTx/>
                  <a:uFillTx/>
                  <a:latin typeface="Arial"/>
                  <a:cs typeface="Calibri" panose="020F0502020204030204" pitchFamily="34" charset="0"/>
                </a:endParaRPr>
              </a:p>
            </p:txBody>
          </p:sp>
          <p:sp>
            <p:nvSpPr>
              <p:cNvPr id="75" name="Textfeld 74">
                <a:extLst>
                  <a:ext uri="{FF2B5EF4-FFF2-40B4-BE49-F238E27FC236}">
                    <a16:creationId xmlns:a16="http://schemas.microsoft.com/office/drawing/2014/main" id="{234E6B2D-5E04-446D-9D83-8C86BAA818DE}"/>
                  </a:ext>
                </a:extLst>
              </p:cNvPr>
              <p:cNvSpPr txBox="1"/>
              <p:nvPr/>
            </p:nvSpPr>
            <p:spPr>
              <a:xfrm>
                <a:off x="4071012" y="3550730"/>
                <a:ext cx="1552673" cy="292388"/>
              </a:xfrm>
              <a:prstGeom prst="rect">
                <a:avLst/>
              </a:prstGeom>
              <a:noFill/>
            </p:spPr>
            <p:txBody>
              <a:bodyPr wrap="square" rIns="0" bIns="0" rtlCol="0">
                <a:spAutoFit/>
              </a:bodyPr>
              <a:lstStyle/>
              <a:p>
                <a:pPr marL="0" marR="0" lvl="0" indent="0" algn="ctr" defTabSz="122145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6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10384F"/>
                    </a:solidFill>
                    <a:effectLst/>
                    <a:uLnTx/>
                    <a:uFillTx/>
                    <a:latin typeface="Arial"/>
                    <a:cs typeface="Calibri" panose="020F0502020204030204" pitchFamily="34" charset="0"/>
                  </a:rPr>
                  <a:t>Furosemide</a:t>
                </a:r>
                <a:endParaRPr kumimoji="0" lang="de-DE" sz="1600" b="1" i="0" u="none" strike="noStrike" kern="0" cap="none" spc="0" normalizeH="0" baseline="0" noProof="0" dirty="0">
                  <a:ln>
                    <a:noFill/>
                  </a:ln>
                  <a:solidFill>
                    <a:srgbClr val="10384F"/>
                  </a:solidFill>
                  <a:effectLst/>
                  <a:uLnTx/>
                  <a:uFillTx/>
                  <a:latin typeface="Arial"/>
                  <a:cs typeface="Calibri" panose="020F0502020204030204" pitchFamily="34" charset="0"/>
                </a:endParaRPr>
              </a:p>
            </p:txBody>
          </p:sp>
        </p:grpSp>
        <p:sp>
          <p:nvSpPr>
            <p:cNvPr id="56" name="Rechteck 55">
              <a:extLst>
                <a:ext uri="{FF2B5EF4-FFF2-40B4-BE49-F238E27FC236}">
                  <a16:creationId xmlns:a16="http://schemas.microsoft.com/office/drawing/2014/main" id="{0A357C56-BAD9-4853-91EE-2F1649F1828A}"/>
                </a:ext>
              </a:extLst>
            </p:cNvPr>
            <p:cNvSpPr/>
            <p:nvPr/>
          </p:nvSpPr>
          <p:spPr bwMode="gray">
            <a:xfrm>
              <a:off x="625" y="0"/>
              <a:ext cx="10080000" cy="5040000"/>
            </a:xfrm>
            <a:prstGeom prst="rect">
              <a:avLst/>
            </a:prstGeom>
            <a:noFill/>
            <a:ln w="76200" cap="flat" cmpd="sng" algn="ctr">
              <a:solidFill>
                <a:srgbClr val="10384F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cs typeface="Arial"/>
              </a:endParaRPr>
            </a:p>
          </p:txBody>
        </p:sp>
        <p:cxnSp>
          <p:nvCxnSpPr>
            <p:cNvPr id="112" name="Gerade Verbindung mit Pfeil 111">
              <a:extLst>
                <a:ext uri="{FF2B5EF4-FFF2-40B4-BE49-F238E27FC236}">
                  <a16:creationId xmlns:a16="http://schemas.microsoft.com/office/drawing/2014/main" id="{D0917519-090A-4A49-ABD9-982827D3038F}"/>
                </a:ext>
              </a:extLst>
            </p:cNvPr>
            <p:cNvCxnSpPr>
              <a:cxnSpLocks/>
              <a:stCxn id="74" idx="2"/>
              <a:endCxn id="75" idx="0"/>
            </p:cNvCxnSpPr>
            <p:nvPr/>
          </p:nvCxnSpPr>
          <p:spPr>
            <a:xfrm flipH="1">
              <a:off x="4847349" y="836850"/>
              <a:ext cx="485045" cy="2877995"/>
            </a:xfrm>
            <a:prstGeom prst="straightConnector1">
              <a:avLst/>
            </a:prstGeom>
            <a:noFill/>
            <a:ln w="25400" cap="flat" cmpd="sng" algn="ctr">
              <a:solidFill>
                <a:srgbClr val="C00000"/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cxnSp>
        <p:sp>
          <p:nvSpPr>
            <p:cNvPr id="225" name="Gleichschenkliges Dreieck 224">
              <a:extLst>
                <a:ext uri="{FF2B5EF4-FFF2-40B4-BE49-F238E27FC236}">
                  <a16:creationId xmlns:a16="http://schemas.microsoft.com/office/drawing/2014/main" id="{158BD913-E196-4523-91A6-0074CF2173D6}"/>
                </a:ext>
              </a:extLst>
            </p:cNvPr>
            <p:cNvSpPr/>
            <p:nvPr/>
          </p:nvSpPr>
          <p:spPr>
            <a:xfrm rot="12284709">
              <a:off x="4775749" y="3710275"/>
              <a:ext cx="108000" cy="108000"/>
            </a:xfrm>
            <a:prstGeom prst="triangle">
              <a:avLst/>
            </a:prstGeom>
            <a:solidFill>
              <a:srgbClr val="C00000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9" name="Rechteck 88">
              <a:extLst>
                <a:ext uri="{FF2B5EF4-FFF2-40B4-BE49-F238E27FC236}">
                  <a16:creationId xmlns:a16="http://schemas.microsoft.com/office/drawing/2014/main" id="{B01FC0D7-7C44-4907-8594-22DB3C47610D}"/>
                </a:ext>
              </a:extLst>
            </p:cNvPr>
            <p:cNvSpPr/>
            <p:nvPr/>
          </p:nvSpPr>
          <p:spPr bwMode="gray">
            <a:xfrm rot="16200000">
              <a:off x="-703723" y="1277947"/>
              <a:ext cx="2462212" cy="542847"/>
            </a:xfrm>
            <a:prstGeom prst="rect">
              <a:avLst/>
            </a:prstGeom>
            <a:gradFill flip="none" rotWithShape="1">
              <a:gsLst>
                <a:gs pos="0">
                  <a:srgbClr val="D30F4B">
                    <a:shade val="30000"/>
                    <a:satMod val="115000"/>
                  </a:srgbClr>
                </a:gs>
                <a:gs pos="50000">
                  <a:srgbClr val="BD0039"/>
                </a:gs>
                <a:gs pos="100000">
                  <a:srgbClr val="D30F4B">
                    <a:shade val="100000"/>
                    <a:satMod val="115000"/>
                  </a:srgbClr>
                </a:gs>
              </a:gsLst>
              <a:lin ang="2700000" scaled="1"/>
              <a:tileRect/>
            </a:gra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6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cs typeface="Arial"/>
                </a:rPr>
                <a:t>Perpetrator</a:t>
              </a:r>
            </a:p>
          </p:txBody>
        </p:sp>
      </p:grpSp>
      <p:pic>
        <p:nvPicPr>
          <p:cNvPr id="26" name="Grafik 25">
            <a:extLst>
              <a:ext uri="{FF2B5EF4-FFF2-40B4-BE49-F238E27FC236}">
                <a16:creationId xmlns:a16="http://schemas.microsoft.com/office/drawing/2014/main" id="{A5DF4011-45B9-1D7F-98F9-EE7FEB6E072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048074" y="1978074"/>
            <a:ext cx="1678649" cy="1678649"/>
          </a:xfrm>
          <a:prstGeom prst="rect">
            <a:avLst/>
          </a:prstGeom>
        </p:spPr>
      </p:pic>
      <p:sp>
        <p:nvSpPr>
          <p:cNvPr id="27" name="Textfeld 26">
            <a:extLst>
              <a:ext uri="{FF2B5EF4-FFF2-40B4-BE49-F238E27FC236}">
                <a16:creationId xmlns:a16="http://schemas.microsoft.com/office/drawing/2014/main" id="{3529796A-F003-4598-96A5-F678DAE42860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4162037" y="2498826"/>
            <a:ext cx="1478716" cy="461665"/>
          </a:xfrm>
          <a:prstGeom prst="rect">
            <a:avLst/>
          </a:prstGeom>
          <a:noFill/>
          <a:effectLst>
            <a:outerShdw blurRad="50800" dist="38100" dir="2700000" algn="tl" rotWithShape="0">
              <a:schemeClr val="bg1">
                <a:alpha val="40000"/>
              </a:schemeClr>
            </a:outerShdw>
          </a:effectLst>
        </p:spPr>
        <p:txBody>
          <a:bodyPr wrap="square" rtlCol="0">
            <a:spAutoFit/>
          </a:bodyPr>
          <a:lstStyle/>
          <a:p>
            <a:pPr marL="0" marR="0" lvl="0" indent="0" algn="ctr" defTabSz="122145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400" b="1" i="0" u="none" strike="noStrike" kern="0" cap="none" spc="0" normalizeH="0" baseline="0" noProof="0" dirty="0">
                <a:ln>
                  <a:noFill/>
                </a:ln>
                <a:solidFill>
                  <a:schemeClr val="tx1">
                    <a:lumMod val="85000"/>
                    <a:lumOff val="15000"/>
                  </a:schemeClr>
                </a:solidFill>
                <a:effectLst/>
                <a:uLnTx/>
                <a:uFillTx/>
                <a:latin typeface="Arial"/>
                <a:cs typeface="Calibri" panose="020F0502020204030204" pitchFamily="34" charset="0"/>
              </a:rPr>
              <a:t>OAT</a:t>
            </a:r>
          </a:p>
        </p:txBody>
      </p:sp>
    </p:spTree>
    <p:extLst>
      <p:ext uri="{BB962C8B-B14F-4D97-AF65-F5344CB8AC3E}">
        <p14:creationId xmlns:p14="http://schemas.microsoft.com/office/powerpoint/2010/main" val="208891148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MAAAAAAAAAAwAAAAMAAAAA/////wUACgwAAAAAAAAAAAAAIAD///////////////8AAAD///////////////8DAAAAAgD///////8D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Q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UAAAACABAAC7hT6wefa85NhEnhF7n2UGQEAAAAAAADAAAAAAADAAAAAwADAAEA////////BQAAAAMAEAALjpG3e5FYD06+JAuZt9nszwQAAAABAAMAAAACAAMAAAAEAAQAAgD///////8FAAAABAAQAAvoQ/2FkFT4RazijJL4UDo3BAAAAAIAAwAAAAMAAwAAAAEAAw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AMOAAAAAAAAAAAAAP/////GAMYAAAAFX2lkABAAAAAEuFPrB59rzk2ESeEXufZQZANEYXRhAFMAAAAIUHJlc2VudGF0aW9uU2Nhbm5lZEZvckxpbmtlZFNoYXBlcwAAAk51bWJlckZvcm1hdFNlcGFyYXRvck1vZGUACgAAAEF1dG9tYXRpYwAAAk5hbWUAJAAAAExpbmtlZFNoYXBlUHJlc2VudGF0aW9uU2V0dGluZ3NEYXRhABBWZXJzaW9uAAAAAAAJTGFzdFdyaXRlAF1iLmmTAQAAAAEA/////4MAgwAAAAVfaWQAEAAAAASOkbd7kVgPTr4kC5m32ezPA0RhdGEAGwAAAARMaW5rZWRTaGFwZURhdGEABQAAAAAAAk5hbWUAGQAAAExpbmtlZFNoYXBlc0RhdGFQcm9wZXJ0eQAQVmVyc2lvbgAAAAAACUxhc3RXcml0ZQC5YS5pkwEAAAACAP////+DAIMAAAAFX2lkABAAAAAE6EP9hZBU+EWs4oyS+FA6NwNEYXRhABsAAAAETGlua2VkU2hhcGVEYXRhAAUAAAAAAAJOYW1lABkAAABMaW5rZWRTaGFwZXNEYXRhUHJvcGVydHkAEFZlcnNpb24AAQAAAAlMYXN0V3JpdGUALmIuaZM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DhCwAAAAAAAAAAAAAgAf///////////////wAAAP///////////////wUAAAACAP///////wUAAAAE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EBAwAAAAIA////////JQAGTGlua2VkU2hhcGVQcmVzZW50YXRpb25TZXR0aW5nc0RhdGFfMAQAAAAAAAUAAAAAAAUAAAADAAMAAQEDAAAAAwD///////8aAAZMaW5rZWRTaGFwZXNEYXRhUHJvcGVydHlfMAQAAAABAAUAAAACAAUAAAAEAAQAAgEDAAAABAD///////8aAAZMaW5rZWRTaGFwZXNEYXRhUHJvcGVydHlfMQQAAAACAAUAAAADAAUAAAABAAUAAAAAAP///////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682332678624827"/>
  <p:tag name="EMPOWERCHARTSPROPERTIES_A_LENGTH" val="24576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F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MBAQEBAQEBAQEBAQEBAQMAAAAAAAAAAwAAAAMAAAAA/////wUAzgsAAAAAAAAAAAAAIAD///////////////8AAAD///////////////8DAAAABAD///////8DAAAABAD///////8D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UAAAACABAAC649jzGsyo5MrhhhU3645gUEAAAAAAADAAAABAADAAAAAwADAAAABAADAAAAAwADAAAABAADAAAAAwADAAMA////////BQAAAAMAEAAL6yQvx0w2tU2vdDQqP9t0fwQAAAABAAMAAAACAAMAAAABAAMAAAACAP///////wMAAAACAP///////wQAAwD///////8FAAAABAAQAAv0m2kprl8GQZVuzE4xfUJTBAAAAAIAAwAAAAAAAwAAAAIAAwAAAAAAAw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J0OAAAAAAAAAAAAAP////9hAGEAAAAFX2lkABAAAAAErj2PMazKjkyuGGFTfrjmBQREYXRhAAUAAAAAAk5hbWUADQAAAExpbmtEYXRhTGlzdAAQVmVyc2lvbgAAAAAACUxhc3RXcml0ZQBF1T9pkwEAAAABAP////9hAGEAAAAFX2lkABAAAAAE6yQvx0w2tU2vdDQqP9t0fwREYXRhAAUAAAAAAk5hbWUADQAAAExpbmtEYXRhTGlzdAAQVmVyc2lvbgABAAAACUxhc3RXcml0ZQBK1T9pkwEAAAACAP////9wAHAAAAAFX2lkABAAAAAE9JtpKa5fBkGVbsxOMX1CUwNEYXRhABYAAAACUGVyc29uYWxJZAABAAAAAAACTmFtZQALAAAAUGVyc29uYWxJZAAQVmVyc2lvbgAAAAAACUxhc3RXcml0ZQBv1T9pkw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DiCwAAAAAAAAAAAAAgAf///////////////wAAAP///////////////wUAAAACAP///////wUAAAACAP///////wU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MBAwAAAAIA////////DgAGTGlua0RhdGFMaXN0XzAEAAAAAAAFAAAAAAAFAAAAAwAFAAAAAAAFAAAAAwAFAAAAAAAFAAAAAwADAAMBAwAAAAMA////////DgAGTGlua0RhdGFMaXN0XzEEAAAAAQAFAAAAAgAFAAAABAAFAAAAAgAFAAAABAAFAAAAAgD///////8EAAIBAwAAAAQA////////DAAGUGVyc29uYWxJZF8wBAAAAAIABQAAAAMABQAAAAEABQAAAAM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682344113893487"/>
  <p:tag name="EMPOWERCHARTSPROPERTIES_B_LENGTH" val="24576"/>
  <p:tag name="DOWN_MIGRATION_INITIAL_LAYOUT_REQUIRED" val="9.2.99"/>
  <p:tag name="RUNTIME_ID" val="b2d7fdd6-934f-4a63-937e-eb6337ae1bcb"/>
</p:tagLst>
</file>

<file path=ppt/theme/theme1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1a4d292e-883c-434b-96e3-060cfff16c86"/>
    <_dlc_ExpireDateSaved xmlns="http://schemas.microsoft.com/sharepoint/v3" xsi:nil="true"/>
    <_dlc_ExpireDate xmlns="http://schemas.microsoft.com/sharepoint/v3" xsi:nil="true"/>
    <_dlc_Exempt xmlns="http://schemas.microsoft.com/sharepoint/v3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0A02AC6D9EF9CA44BE2D7FE53E0F875C" ma:contentTypeVersion="12" ma:contentTypeDescription="Ein neues Dokument erstellen." ma:contentTypeScope="" ma:versionID="6c6d252082fd9ae2dc48941f9a6fd36f">
  <xsd:schema xmlns:xsd="http://www.w3.org/2001/XMLSchema" xmlns:xs="http://www.w3.org/2001/XMLSchema" xmlns:p="http://schemas.microsoft.com/office/2006/metadata/properties" xmlns:ns1="http://schemas.microsoft.com/sharepoint/v3" xmlns:ns2="1a4d292e-883c-434b-96e3-060cfff16c86" xmlns:ns3="aecc70ee-2d6e-4d6b-a98f-0dfc4d2572dc" xmlns:ns4="3f1a0a6d-c532-4d53-8c70-93adc7cbe80c" targetNamespace="http://schemas.microsoft.com/office/2006/metadata/properties" ma:root="true" ma:fieldsID="7789a1f2097b8e592a747d770cd7424d" ns1:_="" ns2:_="" ns3:_="" ns4:_="">
    <xsd:import namespace="http://schemas.microsoft.com/sharepoint/v3"/>
    <xsd:import namespace="1a4d292e-883c-434b-96e3-060cfff16c86"/>
    <xsd:import namespace="aecc70ee-2d6e-4d6b-a98f-0dfc4d2572dc"/>
    <xsd:import namespace="3f1a0a6d-c532-4d53-8c70-93adc7cbe80c"/>
    <xsd:element name="properties">
      <xsd:complexType>
        <xsd:sequence>
          <xsd:element name="documentManagement">
            <xsd:complexType>
              <xsd:all>
                <xsd:element ref="ns2:TaxCatchAll" minOccurs="0"/>
                <xsd:element ref="ns2:TaxCatchAllLabel" minOccurs="0"/>
                <xsd:element ref="ns1:_dlc_Exempt" minOccurs="0"/>
                <xsd:element ref="ns1:_dlc_ExpireDateSaved" minOccurs="0"/>
                <xsd:element ref="ns1:_dlc_ExpireDate" minOccurs="0"/>
                <xsd:element ref="ns3:MediaServiceGenerationTime" minOccurs="0"/>
                <xsd:element ref="ns3:MediaServiceEventHashCode" minOccurs="0"/>
                <xsd:element ref="ns3:MediaServiceMetadata" minOccurs="0"/>
                <xsd:element ref="ns3:MediaServiceFastMetadata" minOccurs="0"/>
                <xsd:element ref="ns3:MediaServiceDateTaken" minOccurs="0"/>
                <xsd:element ref="ns3:MediaServiceAutoTags" minOccurs="0"/>
                <xsd:element ref="ns3:MediaServiceOCR" minOccurs="0"/>
                <xsd:element ref="ns3:MediaServiceAutoKeyPoints" minOccurs="0"/>
                <xsd:element ref="ns3:MediaServiceKeyPoints" minOccurs="0"/>
                <xsd:element ref="ns4:SharedWithUsers" minOccurs="0"/>
                <xsd:element ref="ns4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_dlc_Exempt" ma:index="10" nillable="true" ma:displayName="Von der Richtlinie ausgenommen" ma:hidden="true" ma:internalName="_dlc_Exempt" ma:readOnly="false">
      <xsd:simpleType>
        <xsd:restriction base="dms:Unknown"/>
      </xsd:simpleType>
    </xsd:element>
    <xsd:element name="_dlc_ExpireDateSaved" ma:index="11" nillable="true" ma:displayName="Ursprüngliches Ablaufdatum" ma:hidden="true" ma:internalName="_dlc_ExpireDateSaved" ma:readOnly="false">
      <xsd:simpleType>
        <xsd:restriction base="dms:DateTime"/>
      </xsd:simpleType>
    </xsd:element>
    <xsd:element name="_dlc_ExpireDate" ma:index="12" nillable="true" ma:displayName="Ablaufdatum" ma:hidden="true" ma:internalName="_dlc_ExpireDate" ma:readOnly="false">
      <xsd:simpleType>
        <xsd:restriction base="dms:DateTim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a4d292e-883c-434b-96e3-060cfff16c86" elementFormDefault="qualified">
    <xsd:import namespace="http://schemas.microsoft.com/office/2006/documentManagement/types"/>
    <xsd:import namespace="http://schemas.microsoft.com/office/infopath/2007/PartnerControls"/>
    <xsd:element name="TaxCatchAll" ma:index="8" nillable="true" ma:displayName="Taxonomy Catch All Column" ma:hidden="true" ma:list="{b599c451-461d-4bcb-96b9-7f01ce286709}" ma:internalName="TaxCatchAll" ma:showField="CatchAllData" ma:web="3f1a0a6d-c532-4d53-8c70-93adc7cbe80c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TaxCatchAllLabel" ma:index="9" nillable="true" ma:displayName="Taxonomy Catch All Column1" ma:hidden="true" ma:list="{b599c451-461d-4bcb-96b9-7f01ce286709}" ma:internalName="TaxCatchAllLabel" ma:readOnly="true" ma:showField="CatchAllDataLabel" ma:web="3f1a0a6d-c532-4d53-8c70-93adc7cbe80c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ecc70ee-2d6e-4d6b-a98f-0dfc4d2572dc" elementFormDefault="qualified">
    <xsd:import namespace="http://schemas.microsoft.com/office/2006/documentManagement/types"/>
    <xsd:import namespace="http://schemas.microsoft.com/office/infopath/2007/PartnerControls"/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Metadata" ma:index="15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6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7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8" nillable="true" ma:displayName="Tags" ma:internalName="MediaServiceAutoTags" ma:readOnly="true">
      <xsd:simpleType>
        <xsd:restriction base="dms:Text"/>
      </xsd:simple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AutoKeyPoints" ma:index="2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f1a0a6d-c532-4d53-8c70-93adc7cbe80c" elementFormDefault="qualified">
    <xsd:import namespace="http://schemas.microsoft.com/office/2006/documentManagement/types"/>
    <xsd:import namespace="http://schemas.microsoft.com/office/infopath/2007/PartnerControls"/>
    <xsd:element name="SharedWithUsers" ma:index="22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23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SharedContentType xmlns="Microsoft.SharePoint.Taxonomy.ContentTypeSync" SourceId="7bc43322-b630-4bac-8b27-31def233d1d0" ContentTypeId="0x0101" PreviousValue="false"/>
</file>

<file path=customXml/item4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0ACF9CDC-7187-4C27-99A4-44DD755F7818}">
  <ds:schemaRefs>
    <ds:schemaRef ds:uri="http://schemas.microsoft.com/office/2006/metadata/properties"/>
    <ds:schemaRef ds:uri="http://schemas.microsoft.com/office/infopath/2007/PartnerControls"/>
    <ds:schemaRef ds:uri="1a4d292e-883c-434b-96e3-060cfff16c86"/>
    <ds:schemaRef ds:uri="http://schemas.microsoft.com/sharepoint/v3"/>
  </ds:schemaRefs>
</ds:datastoreItem>
</file>

<file path=customXml/itemProps2.xml><?xml version="1.0" encoding="utf-8"?>
<ds:datastoreItem xmlns:ds="http://schemas.openxmlformats.org/officeDocument/2006/customXml" ds:itemID="{3AFBB2A2-6AEA-44D3-9E19-77C2996646D1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1a4d292e-883c-434b-96e3-060cfff16c86"/>
    <ds:schemaRef ds:uri="aecc70ee-2d6e-4d6b-a98f-0dfc4d2572dc"/>
    <ds:schemaRef ds:uri="3f1a0a6d-c532-4d53-8c70-93adc7cbe80c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E2E7F328-0877-4E3B-89D4-88D98111FCAF}">
  <ds:schemaRefs>
    <ds:schemaRef ds:uri="Microsoft.SharePoint.Taxonomy.ContentTypeSync"/>
  </ds:schemaRefs>
</ds:datastoreItem>
</file>

<file path=customXml/itemProps4.xml><?xml version="1.0" encoding="utf-8"?>
<ds:datastoreItem xmlns:ds="http://schemas.openxmlformats.org/officeDocument/2006/customXml" ds:itemID="{04D729A8-6F7F-45FE-91C8-CB5671C0CFA0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0</TotalTime>
  <Words>5</Words>
  <Application>Microsoft Office PowerPoint</Application>
  <PresentationFormat>Custom</PresentationFormat>
  <Paragraphs>5</Paragraphs>
  <Slides>1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5" baseType="lpstr">
      <vt:lpstr>Arial</vt:lpstr>
      <vt:lpstr>Calibri</vt:lpstr>
      <vt:lpstr>Calibri Light</vt:lpstr>
      <vt:lpstr>Office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Sebastian Frechen</dc:creator>
  <cp:lastModifiedBy>Mariana Guimaraes Sa Correia</cp:lastModifiedBy>
  <cp:revision>8</cp:revision>
  <dcterms:created xsi:type="dcterms:W3CDTF">2020-12-07T14:12:34Z</dcterms:created>
  <dcterms:modified xsi:type="dcterms:W3CDTF">2024-12-17T18:11:1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0A02AC6D9EF9CA44BE2D7FE53E0F875C</vt:lpwstr>
  </property>
  <property fmtid="{D5CDD505-2E9C-101B-9397-08002B2CF9AE}" pid="3" name="MSIP_Label_7f850223-87a8-40c3-9eb2-432606efca2a_Enabled">
    <vt:lpwstr>true</vt:lpwstr>
  </property>
  <property fmtid="{D5CDD505-2E9C-101B-9397-08002B2CF9AE}" pid="4" name="MSIP_Label_7f850223-87a8-40c3-9eb2-432606efca2a_SetDate">
    <vt:lpwstr>2022-01-13T11:43:11Z</vt:lpwstr>
  </property>
  <property fmtid="{D5CDD505-2E9C-101B-9397-08002B2CF9AE}" pid="5" name="MSIP_Label_7f850223-87a8-40c3-9eb2-432606efca2a_Method">
    <vt:lpwstr>Standard</vt:lpwstr>
  </property>
  <property fmtid="{D5CDD505-2E9C-101B-9397-08002B2CF9AE}" pid="6" name="MSIP_Label_7f850223-87a8-40c3-9eb2-432606efca2a_Name">
    <vt:lpwstr>7f850223-87a8-40c3-9eb2-432606efca2a</vt:lpwstr>
  </property>
  <property fmtid="{D5CDD505-2E9C-101B-9397-08002B2CF9AE}" pid="7" name="MSIP_Label_7f850223-87a8-40c3-9eb2-432606efca2a_SiteId">
    <vt:lpwstr>fcb2b37b-5da0-466b-9b83-0014b67a7c78</vt:lpwstr>
  </property>
  <property fmtid="{D5CDD505-2E9C-101B-9397-08002B2CF9AE}" pid="8" name="MSIP_Label_7f850223-87a8-40c3-9eb2-432606efca2a_ContentBits">
    <vt:lpwstr>0</vt:lpwstr>
  </property>
</Properties>
</file>